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Default Extension="bin" ContentType="application/vnd.openxmlformats-officedocument.oleObject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9" r:id="rId3"/>
    <p:sldId id="257" r:id="rId4"/>
    <p:sldId id="261" r:id="rId5"/>
    <p:sldId id="260" r:id="rId6"/>
    <p:sldId id="262" r:id="rId7"/>
    <p:sldId id="263" r:id="rId8"/>
    <p:sldId id="265" r:id="rId9"/>
    <p:sldId id="264" r:id="rId10"/>
    <p:sldId id="258" r:id="rId11"/>
  </p:sldIdLst>
  <p:sldSz cx="9144000" cy="6858000" type="screen4x3"/>
  <p:notesSz cx="6858000" cy="9144000"/>
  <p:custDataLst>
    <p:tags r:id="rId1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141" autoAdjust="0"/>
  </p:normalViewPr>
  <p:slideViewPr>
    <p:cSldViewPr>
      <p:cViewPr varScale="1">
        <p:scale>
          <a:sx n="63" d="100"/>
          <a:sy n="63" d="100"/>
        </p:scale>
        <p:origin x="-1500" y="-11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37613-E67B-4C3B-A7EC-591CB4A3F075}" type="datetimeFigureOut">
              <a:rPr lang="ru-RU" smtClean="0"/>
              <a:pPr/>
              <a:t>29.04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269B0-A259-430B-AC1B-7D97CCBEC79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37613-E67B-4C3B-A7EC-591CB4A3F075}" type="datetimeFigureOut">
              <a:rPr lang="ru-RU" smtClean="0"/>
              <a:pPr/>
              <a:t>29.04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269B0-A259-430B-AC1B-7D97CCBEC79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37613-E67B-4C3B-A7EC-591CB4A3F075}" type="datetimeFigureOut">
              <a:rPr lang="ru-RU" smtClean="0"/>
              <a:pPr/>
              <a:t>29.04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269B0-A259-430B-AC1B-7D97CCBEC79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37613-E67B-4C3B-A7EC-591CB4A3F075}" type="datetimeFigureOut">
              <a:rPr lang="ru-RU" smtClean="0"/>
              <a:pPr/>
              <a:t>29.04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269B0-A259-430B-AC1B-7D97CCBEC79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37613-E67B-4C3B-A7EC-591CB4A3F075}" type="datetimeFigureOut">
              <a:rPr lang="ru-RU" smtClean="0"/>
              <a:pPr/>
              <a:t>29.04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269B0-A259-430B-AC1B-7D97CCBEC79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37613-E67B-4C3B-A7EC-591CB4A3F075}" type="datetimeFigureOut">
              <a:rPr lang="ru-RU" smtClean="0"/>
              <a:pPr/>
              <a:t>29.04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269B0-A259-430B-AC1B-7D97CCBEC79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37613-E67B-4C3B-A7EC-591CB4A3F075}" type="datetimeFigureOut">
              <a:rPr lang="ru-RU" smtClean="0"/>
              <a:pPr/>
              <a:t>29.04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269B0-A259-430B-AC1B-7D97CCBEC79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37613-E67B-4C3B-A7EC-591CB4A3F075}" type="datetimeFigureOut">
              <a:rPr lang="ru-RU" smtClean="0"/>
              <a:pPr/>
              <a:t>29.04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269B0-A259-430B-AC1B-7D97CCBEC79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37613-E67B-4C3B-A7EC-591CB4A3F075}" type="datetimeFigureOut">
              <a:rPr lang="ru-RU" smtClean="0"/>
              <a:pPr/>
              <a:t>29.04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269B0-A259-430B-AC1B-7D97CCBEC79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37613-E67B-4C3B-A7EC-591CB4A3F075}" type="datetimeFigureOut">
              <a:rPr lang="ru-RU" smtClean="0"/>
              <a:pPr/>
              <a:t>29.04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269B0-A259-430B-AC1B-7D97CCBEC79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37613-E67B-4C3B-A7EC-591CB4A3F075}" type="datetimeFigureOut">
              <a:rPr lang="ru-RU" smtClean="0"/>
              <a:pPr/>
              <a:t>29.04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269B0-A259-430B-AC1B-7D97CCBEC79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E37613-E67B-4C3B-A7EC-591CB4A3F075}" type="datetimeFigureOut">
              <a:rPr lang="ru-RU" smtClean="0"/>
              <a:pPr/>
              <a:t>29.04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9269B0-A259-430B-AC1B-7D97CCBEC793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facebook.com/linux.nerd.au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hyperlink" Target="http://telegram.me/zz7Bot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203518" y="3429000"/>
            <a:ext cx="3024995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600" b="1" dirty="0"/>
              <a:t>Peter </a:t>
            </a:r>
            <a:r>
              <a:rPr lang="en-US" sz="3600" b="1" dirty="0" smtClean="0"/>
              <a:t>Michaels</a:t>
            </a:r>
          </a:p>
          <a:p>
            <a:pPr algn="ctr"/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ustralia, Brisbane</a:t>
            </a:r>
            <a:endParaRPr lang="ru-RU" sz="2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35696" y="4869160"/>
            <a:ext cx="57606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иев / 29.04.16 / Революция ботов</a:t>
            </a:r>
            <a:endParaRPr lang="ru-RU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4338" name="Picture 2" descr="Світлина профілю appclub / build, monetize /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15816" y="5445224"/>
            <a:ext cx="935999" cy="936000"/>
          </a:xfrm>
          <a:prstGeom prst="rect">
            <a:avLst/>
          </a:prstGeom>
          <a:noFill/>
        </p:spPr>
      </p:pic>
      <p:pic>
        <p:nvPicPr>
          <p:cNvPr id="14340" name="Picture 4" descr="Світлина профілю Креативний простір &quot;Часопис&quot;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19961" y="5553224"/>
            <a:ext cx="719999" cy="720000"/>
          </a:xfrm>
          <a:prstGeom prst="rect">
            <a:avLst/>
          </a:prstGeom>
          <a:noFill/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08105" y="5679224"/>
            <a:ext cx="790987" cy="4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403648" y="2492896"/>
            <a:ext cx="676875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/>
              <a:t>		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eter Michaels</a:t>
            </a:r>
            <a:endParaRPr lang="en-US" sz="20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Фейсбук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: 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	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hlinkClick r:id="rId2"/>
              </a:rPr>
              <a:t>https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hlinkClick r:id="rId2"/>
              </a:rPr>
              <a:t>://www.facebook.com/linux.nerd.au</a:t>
            </a:r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lang="ru-RU" sz="20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Телеграм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: 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	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@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Lord_Evil</a:t>
            </a:r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lang="ru-RU" sz="20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Телефон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: 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	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+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380-95-125-59-79</a:t>
            </a:r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51520" y="188640"/>
            <a:ext cx="633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МОИ КОНТАКТЫ</a:t>
            </a:r>
            <a:endParaRPr lang="ru-RU" sz="2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475656" y="1630541"/>
            <a:ext cx="633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1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Какие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задачи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решаются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при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помощи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ботов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для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автоматизации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бизнес-процессов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475656" y="2571146"/>
            <a:ext cx="633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2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Преимущества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ботов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перед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веб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и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мобильными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приложениями</a:t>
            </a:r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475656" y="3511751"/>
            <a:ext cx="338086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3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Способы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разработки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ботов</a:t>
            </a:r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475656" y="4144580"/>
            <a:ext cx="633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4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Что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требуется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для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разработки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сложных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ботов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с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чего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начать</a:t>
            </a:r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475656" y="5085184"/>
            <a:ext cx="6336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5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Д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емонстр</a:t>
            </a:r>
            <a:r>
              <a:rPr lang="ru-RU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ация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собственн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ого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инструмент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а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графического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проектирования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логики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бота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его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использование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в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реальных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условиях</a:t>
            </a:r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85720" y="272457"/>
            <a:ext cx="27860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СОДЕРЖАНИЕ</a:t>
            </a:r>
            <a:endParaRPr lang="ru-RU" sz="2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51520" y="188640"/>
            <a:ext cx="633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КАКИЕ ЗАДАЧИ РЕШАЮТ БОТЫ</a:t>
            </a:r>
            <a:endParaRPr lang="ru-RU" sz="2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67544" y="2060847"/>
            <a:ext cx="2952000" cy="1260000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algn="ctr"/>
            <a:r>
              <a:rPr lang="en-US" sz="24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Боты</a:t>
            </a:r>
            <a:r>
              <a:rPr 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4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это</a:t>
            </a:r>
            <a:r>
              <a:rPr 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4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круто</a:t>
            </a:r>
            <a:r>
              <a:rPr 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! </a:t>
            </a:r>
            <a:endParaRPr lang="ru-RU" sz="2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923928" y="6165304"/>
            <a:ext cx="2304000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buFont typeface="Wingdings" pitchFamily="2" charset="2"/>
              <a:buChar char="§"/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Э</a:t>
            </a: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кономить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092280" y="4149080"/>
            <a:ext cx="1980472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buFont typeface="Wingdings" pitchFamily="2" charset="2"/>
              <a:buChar char="§"/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О</a:t>
            </a: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существлять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продажи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691680" y="5517232"/>
            <a:ext cx="2304000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buFont typeface="Wingdings" pitchFamily="2" charset="2"/>
              <a:buChar char="§"/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В</a:t>
            </a: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заимодействовать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с </a:t>
            </a: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клиентами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084424" y="5157192"/>
            <a:ext cx="2304000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buFont typeface="Wingdings" pitchFamily="2" charset="2"/>
              <a:buChar char="§"/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У</a:t>
            </a: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правлять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своими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подчиненными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67544" y="4221088"/>
            <a:ext cx="3312368" cy="64633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buFont typeface="Wingdings" pitchFamily="2" charset="2"/>
              <a:buChar char="§"/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О</a:t>
            </a: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птимизи</a:t>
            </a:r>
            <a:r>
              <a:rPr lang="ru-RU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ровать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и </a:t>
            </a: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автоматиз</a:t>
            </a:r>
            <a:r>
              <a:rPr lang="ru-RU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ировать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практически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любо</a:t>
            </a:r>
            <a:r>
              <a:rPr lang="ru-RU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й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бизнес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-</a:t>
            </a: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процесс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796464" y="2060847"/>
            <a:ext cx="2952000" cy="1260000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algn="ctr"/>
            <a:r>
              <a:rPr lang="ru-RU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С</a:t>
            </a:r>
            <a:r>
              <a:rPr 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4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их</a:t>
            </a:r>
            <a:r>
              <a:rPr 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4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помощью</a:t>
            </a:r>
            <a:r>
              <a:rPr 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4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можно</a:t>
            </a:r>
            <a:r>
              <a:rPr 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4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делать</a:t>
            </a:r>
            <a:r>
              <a:rPr 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4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бабки</a:t>
            </a:r>
            <a:r>
              <a:rPr 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! </a:t>
            </a:r>
            <a:endParaRPr lang="ru-RU" sz="2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3074" name="Picture 2" descr="bag, buy, currency, dollar, finance, payment, shopping icon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438001" y="1484784"/>
            <a:ext cx="2267999" cy="2268000"/>
          </a:xfrm>
          <a:prstGeom prst="rect">
            <a:avLst/>
          </a:prstGeom>
          <a:noFill/>
        </p:spPr>
      </p:pic>
      <p:cxnSp>
        <p:nvCxnSpPr>
          <p:cNvPr id="25" name="Прямая соединительная линия 24"/>
          <p:cNvCxnSpPr>
            <a:stCxn id="3074" idx="2"/>
          </p:cNvCxnSpPr>
          <p:nvPr/>
        </p:nvCxnSpPr>
        <p:spPr>
          <a:xfrm flipH="1">
            <a:off x="4572000" y="3752784"/>
            <a:ext cx="1" cy="612320"/>
          </a:xfrm>
          <a:prstGeom prst="line">
            <a:avLst/>
          </a:prstGeom>
          <a:ln w="381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3419872" y="4365104"/>
            <a:ext cx="3456384" cy="0"/>
          </a:xfrm>
          <a:prstGeom prst="line">
            <a:avLst/>
          </a:prstGeom>
          <a:ln w="38100">
            <a:solidFill>
              <a:schemeClr val="bg1">
                <a:lumMod val="85000"/>
              </a:schemeClr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3995936" y="4365104"/>
            <a:ext cx="0" cy="936000"/>
          </a:xfrm>
          <a:prstGeom prst="line">
            <a:avLst/>
          </a:prstGeom>
          <a:ln w="381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3995936" y="5301208"/>
            <a:ext cx="1944216" cy="0"/>
          </a:xfrm>
          <a:prstGeom prst="line">
            <a:avLst/>
          </a:prstGeom>
          <a:ln w="3810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4860032" y="5301208"/>
            <a:ext cx="0" cy="720080"/>
          </a:xfrm>
          <a:prstGeom prst="line">
            <a:avLst/>
          </a:prstGeom>
          <a:ln w="3810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 flipH="1">
            <a:off x="4139952" y="5661248"/>
            <a:ext cx="720080" cy="0"/>
          </a:xfrm>
          <a:prstGeom prst="straightConnector1">
            <a:avLst/>
          </a:prstGeom>
          <a:ln w="38100">
            <a:solidFill>
              <a:schemeClr val="bg1">
                <a:lumMod val="8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68" y="764704"/>
            <a:ext cx="1771200" cy="29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61469" y="764704"/>
            <a:ext cx="1771200" cy="29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6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55370" y="764704"/>
            <a:ext cx="1771200" cy="29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7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49272" y="764704"/>
            <a:ext cx="1771200" cy="29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8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67568" y="3861376"/>
            <a:ext cx="1771200" cy="29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9" name="Picture 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661469" y="3861376"/>
            <a:ext cx="1771200" cy="29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40" name="Picture 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855370" y="3861376"/>
            <a:ext cx="1771200" cy="29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41" name="Picture 9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049272" y="3861376"/>
            <a:ext cx="1771200" cy="29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251520" y="188640"/>
            <a:ext cx="633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ПРИМЕР: ЗАКАЗ ЕДЫ</a:t>
            </a:r>
            <a:endParaRPr lang="ru-RU" sz="2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3" name="Прямоугольник 12"/>
          <p:cNvSpPr>
            <a:spLocks noChangeAspect="1"/>
          </p:cNvSpPr>
          <p:nvPr/>
        </p:nvSpPr>
        <p:spPr>
          <a:xfrm>
            <a:off x="179560" y="1340792"/>
            <a:ext cx="432000" cy="432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 smtClean="0">
                <a:solidFill>
                  <a:schemeClr val="bg1"/>
                </a:solidFill>
              </a:rPr>
              <a:t>1</a:t>
            </a:r>
            <a:endParaRPr lang="uk-UA" sz="2000" dirty="0" smtClean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>
            <a:spLocks noChangeAspect="1"/>
          </p:cNvSpPr>
          <p:nvPr/>
        </p:nvSpPr>
        <p:spPr>
          <a:xfrm>
            <a:off x="4572000" y="1340792"/>
            <a:ext cx="432000" cy="432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 smtClean="0">
                <a:solidFill>
                  <a:schemeClr val="bg1"/>
                </a:solidFill>
              </a:rPr>
              <a:t>3</a:t>
            </a:r>
            <a:endParaRPr lang="uk-UA" sz="2000" dirty="0" smtClean="0">
              <a:solidFill>
                <a:schemeClr val="bg1"/>
              </a:solidFill>
            </a:endParaRPr>
          </a:p>
        </p:txBody>
      </p:sp>
      <p:sp>
        <p:nvSpPr>
          <p:cNvPr id="15" name="Прямоугольник 14"/>
          <p:cNvSpPr>
            <a:spLocks noChangeAspect="1"/>
          </p:cNvSpPr>
          <p:nvPr/>
        </p:nvSpPr>
        <p:spPr>
          <a:xfrm>
            <a:off x="2411760" y="1340792"/>
            <a:ext cx="432000" cy="432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 smtClean="0">
                <a:solidFill>
                  <a:schemeClr val="bg1"/>
                </a:solidFill>
              </a:rPr>
              <a:t>2</a:t>
            </a:r>
            <a:endParaRPr lang="uk-UA" sz="2000" dirty="0" smtClean="0">
              <a:solidFill>
                <a:schemeClr val="bg1"/>
              </a:solidFill>
            </a:endParaRPr>
          </a:p>
        </p:txBody>
      </p:sp>
      <p:sp>
        <p:nvSpPr>
          <p:cNvPr id="16" name="Прямоугольник 15"/>
          <p:cNvSpPr>
            <a:spLocks noChangeAspect="1"/>
          </p:cNvSpPr>
          <p:nvPr/>
        </p:nvSpPr>
        <p:spPr>
          <a:xfrm>
            <a:off x="6804248" y="4365152"/>
            <a:ext cx="432000" cy="432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 smtClean="0">
                <a:solidFill>
                  <a:schemeClr val="bg1"/>
                </a:solidFill>
              </a:rPr>
              <a:t>8</a:t>
            </a:r>
            <a:endParaRPr lang="uk-UA" sz="2000" dirty="0" smtClean="0">
              <a:solidFill>
                <a:schemeClr val="bg1"/>
              </a:solidFill>
            </a:endParaRPr>
          </a:p>
        </p:txBody>
      </p:sp>
      <p:sp>
        <p:nvSpPr>
          <p:cNvPr id="17" name="Прямоугольник 16"/>
          <p:cNvSpPr>
            <a:spLocks noChangeAspect="1"/>
          </p:cNvSpPr>
          <p:nvPr/>
        </p:nvSpPr>
        <p:spPr>
          <a:xfrm>
            <a:off x="4572000" y="4365152"/>
            <a:ext cx="432000" cy="432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 smtClean="0">
                <a:solidFill>
                  <a:schemeClr val="bg1"/>
                </a:solidFill>
              </a:rPr>
              <a:t>7</a:t>
            </a:r>
            <a:endParaRPr lang="uk-UA" sz="2000" dirty="0" smtClean="0">
              <a:solidFill>
                <a:schemeClr val="bg1"/>
              </a:solidFill>
            </a:endParaRPr>
          </a:p>
        </p:txBody>
      </p:sp>
      <p:sp>
        <p:nvSpPr>
          <p:cNvPr id="18" name="Прямоугольник 17"/>
          <p:cNvSpPr>
            <a:spLocks noChangeAspect="1"/>
          </p:cNvSpPr>
          <p:nvPr/>
        </p:nvSpPr>
        <p:spPr>
          <a:xfrm>
            <a:off x="2411760" y="4365152"/>
            <a:ext cx="432000" cy="432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 smtClean="0">
                <a:solidFill>
                  <a:schemeClr val="bg1"/>
                </a:solidFill>
              </a:rPr>
              <a:t>6</a:t>
            </a:r>
            <a:endParaRPr lang="uk-UA" sz="2000" dirty="0" smtClean="0">
              <a:solidFill>
                <a:schemeClr val="bg1"/>
              </a:solidFill>
            </a:endParaRPr>
          </a:p>
        </p:txBody>
      </p:sp>
      <p:sp>
        <p:nvSpPr>
          <p:cNvPr id="19" name="Прямоугольник 18"/>
          <p:cNvSpPr>
            <a:spLocks noChangeAspect="1"/>
          </p:cNvSpPr>
          <p:nvPr/>
        </p:nvSpPr>
        <p:spPr>
          <a:xfrm>
            <a:off x="179512" y="4365152"/>
            <a:ext cx="432000" cy="432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 smtClean="0">
                <a:solidFill>
                  <a:schemeClr val="bg1"/>
                </a:solidFill>
              </a:rPr>
              <a:t>5</a:t>
            </a:r>
            <a:endParaRPr lang="uk-UA" sz="2000" dirty="0" smtClean="0">
              <a:solidFill>
                <a:schemeClr val="bg1"/>
              </a:solidFill>
            </a:endParaRPr>
          </a:p>
        </p:txBody>
      </p:sp>
      <p:sp>
        <p:nvSpPr>
          <p:cNvPr id="20" name="Прямоугольник 19"/>
          <p:cNvSpPr>
            <a:spLocks noChangeAspect="1"/>
          </p:cNvSpPr>
          <p:nvPr/>
        </p:nvSpPr>
        <p:spPr>
          <a:xfrm>
            <a:off x="6876256" y="1340792"/>
            <a:ext cx="432000" cy="432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 smtClean="0">
                <a:solidFill>
                  <a:schemeClr val="bg1"/>
                </a:solidFill>
              </a:rPr>
              <a:t>4</a:t>
            </a:r>
            <a:endParaRPr lang="uk-UA" sz="2000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51520" y="188640"/>
            <a:ext cx="633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ПРЕИМУЩЕСТВА БОТОВ</a:t>
            </a:r>
            <a:endParaRPr lang="ru-RU" sz="2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55576" y="4185084"/>
            <a:ext cx="2304000" cy="86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algn="ctr"/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Б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от</a:t>
            </a:r>
            <a:r>
              <a:rPr lang="ru-RU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ы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860032" y="4185084"/>
            <a:ext cx="3635896" cy="86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algn="ctr"/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еб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и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М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обильны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е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иложения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7410" name="Picture 2" descr="android, communication, device, mobile, phone, robot, technology, telephone ic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76248" y="2276872"/>
            <a:ext cx="1379528" cy="1620000"/>
          </a:xfrm>
          <a:prstGeom prst="rect">
            <a:avLst/>
          </a:prstGeom>
          <a:noFill/>
        </p:spPr>
      </p:pic>
      <p:pic>
        <p:nvPicPr>
          <p:cNvPr id="9" name="Picture 10" descr="monitor, screen icon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860032" y="2132646"/>
            <a:ext cx="2232459" cy="2232458"/>
          </a:xfrm>
          <a:prstGeom prst="rect">
            <a:avLst/>
          </a:prstGeom>
          <a:noFill/>
        </p:spPr>
      </p:pic>
      <p:pic>
        <p:nvPicPr>
          <p:cNvPr id="10" name="Picture 12" descr="apple, device, handheld, ipad, portable, screen, tablet icon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386277" y="2440533"/>
            <a:ext cx="1682433" cy="1682432"/>
          </a:xfrm>
          <a:prstGeom prst="rect">
            <a:avLst/>
          </a:prstGeom>
          <a:noFill/>
        </p:spPr>
      </p:pic>
      <p:pic>
        <p:nvPicPr>
          <p:cNvPr id="11" name="Picture 14" descr="call, handheld, iphone, mobile, phone, smartphone, telephone icon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413540" y="2774684"/>
            <a:ext cx="1261825" cy="1261825"/>
          </a:xfrm>
          <a:prstGeom prst="rect">
            <a:avLst/>
          </a:prstGeom>
          <a:noFill/>
        </p:spPr>
      </p:pic>
      <p:pic>
        <p:nvPicPr>
          <p:cNvPr id="17414" name="Picture 6" descr="app, app development, application, development icon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149365" y="2132856"/>
            <a:ext cx="1439999" cy="1440000"/>
          </a:xfrm>
          <a:prstGeom prst="rect">
            <a:avLst/>
          </a:prstGeom>
          <a:noFill/>
        </p:spPr>
      </p:pic>
      <p:sp>
        <p:nvSpPr>
          <p:cNvPr id="13" name="Прямоугольник 12"/>
          <p:cNvSpPr/>
          <p:nvPr/>
        </p:nvSpPr>
        <p:spPr>
          <a:xfrm>
            <a:off x="3393211" y="2649686"/>
            <a:ext cx="890757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5400" dirty="0" smtClean="0">
                <a:solidFill>
                  <a:srgbClr val="C00000"/>
                </a:solidFill>
              </a:rPr>
              <a:t>VS</a:t>
            </a:r>
            <a:endParaRPr lang="ru-RU" sz="54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51520" y="188640"/>
            <a:ext cx="633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СПОСОБЫ РАЗРАБОТКИ БОТОВ: КАК?</a:t>
            </a:r>
            <a:endParaRPr lang="ru-RU" sz="2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419872" y="1702549"/>
            <a:ext cx="32896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FF0000"/>
              </a:buClr>
              <a:buFont typeface="Wingdings" pitchFamily="2" charset="2"/>
              <a:buChar char="§"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Обычное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программирование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209431" y="2443389"/>
            <a:ext cx="22181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FF0000"/>
              </a:buClr>
              <a:buFont typeface="Wingdings" pitchFamily="2" charset="2"/>
              <a:buChar char="§"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F'ах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 SWITCH-CASE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788024" y="3177715"/>
            <a:ext cx="41044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F0000"/>
              </a:buClr>
              <a:buFont typeface="Wingdings" pitchFamily="2" charset="2"/>
              <a:buChar char="§"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Г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рафические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инструменты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Manybot.io, Paquebot.io(chatfuel.com)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209431" y="4202068"/>
            <a:ext cx="25374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FF0000"/>
              </a:buClr>
              <a:buFont typeface="Wingdings" pitchFamily="2" charset="2"/>
              <a:buChar char="§"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ww.pandorabots.com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419872" y="4942909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rgbClr val="FF0000"/>
              </a:buClr>
              <a:buFont typeface="Wingdings" pitchFamily="2" charset="2"/>
              <a:buChar char="§"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И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струменты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для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анализа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семантики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текста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и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даже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голоса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такие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как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pi.ai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9458" name="Picture 2" descr="help, mark, question icon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115616" y="2348880"/>
            <a:ext cx="2303999" cy="2304000"/>
          </a:xfrm>
          <a:prstGeom prst="rect">
            <a:avLst/>
          </a:prstGeom>
          <a:noFill/>
        </p:spPr>
      </p:pic>
      <p:pic>
        <p:nvPicPr>
          <p:cNvPr id="13" name="Picture 2" descr="robo, to icon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1560" y="3050880"/>
            <a:ext cx="899999" cy="90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486" name="think-cell Slide" r:id="rId7" imgW="270" imgH="270" progId="TCLayout.ActiveDocument.1">
              <p:embed/>
            </p:oleObj>
          </a:graphicData>
        </a:graphic>
      </p:graphicFrame>
      <p:sp>
        <p:nvSpPr>
          <p:cNvPr id="4" name="Прямоугольник 3"/>
          <p:cNvSpPr/>
          <p:nvPr>
            <p:custDataLst>
              <p:tags r:id="rId2"/>
            </p:custDataLst>
          </p:nvPr>
        </p:nvSpPr>
        <p:spPr>
          <a:xfrm>
            <a:off x="251520" y="188640"/>
            <a:ext cx="633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С ЧЕГО НАЧАТЬ?</a:t>
            </a:r>
            <a:endParaRPr lang="ru-RU" sz="2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048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779912" y="2204864"/>
            <a:ext cx="5328000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§"/>
              <a:tabLst/>
            </a:pPr>
            <a:r>
              <a:rPr kumimoji="0" lang="ru-RU" altLang="zh-CN" sz="24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 Описать все возможные </a:t>
            </a: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User Story</a:t>
            </a:r>
            <a:endParaRPr kumimoji="0" lang="ru-RU" altLang="zh-CN" sz="2400" b="0" i="0" u="none" strike="noStrike" cap="none" normalizeH="0" baseline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ea typeface="SimSun" pitchFamily="2" charset="-122"/>
              <a:cs typeface="Times New Roman" pitchFamily="18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§"/>
              <a:tabLst/>
            </a:pPr>
            <a:endParaRPr kumimoji="0" lang="ru-RU" altLang="zh-CN" sz="2400" b="0" i="0" u="none" strike="noStrike" cap="none" normalizeH="0" baseline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§"/>
              <a:tabLst/>
            </a:pPr>
            <a:r>
              <a:rPr kumimoji="0" lang="ru-RU" altLang="zh-CN" sz="24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 Спроектировать базу данных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§"/>
              <a:tabLst/>
            </a:pPr>
            <a:endParaRPr kumimoji="0" lang="ru-RU" altLang="zh-CN" sz="2400" b="0" i="0" u="none" strike="noStrike" cap="none" normalizeH="0" baseline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§"/>
              <a:tabLst/>
            </a:pPr>
            <a:r>
              <a:rPr kumimoji="0" lang="ru-RU" altLang="zh-CN" sz="24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 </a:t>
            </a:r>
            <a:r>
              <a:rPr kumimoji="0" lang="ru-RU" altLang="zh-CN" sz="24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Созда</a:t>
            </a:r>
            <a:r>
              <a:rPr lang="ru-RU" altLang="zh-CN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SimSun" pitchFamily="2" charset="-122"/>
                <a:cs typeface="Times New Roman" pitchFamily="18" charset="0"/>
              </a:rPr>
              <a:t>ть</a:t>
            </a:r>
            <a:r>
              <a:rPr kumimoji="0" lang="ru-RU" altLang="zh-CN" sz="24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 </a:t>
            </a:r>
            <a:r>
              <a:rPr kumimoji="0" lang="en-US" altLang="zh-CN" sz="24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API</a:t>
            </a:r>
            <a:r>
              <a:rPr kumimoji="0" lang="ru-RU" altLang="zh-CN" sz="24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 Интерфейс</a:t>
            </a:r>
            <a:endParaRPr kumimoji="0" lang="ru-RU" altLang="zh-CN" sz="2400" b="0" i="0" u="none" strike="noStrike" cap="none" normalizeH="0" baseline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ea typeface="SimSun" pitchFamily="2" charset="-122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§"/>
              <a:tabLst/>
            </a:pPr>
            <a:endParaRPr kumimoji="0" lang="ru-RU" altLang="zh-CN" sz="2400" b="0" i="0" u="none" strike="noStrike" cap="none" normalizeH="0" baseline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§"/>
              <a:tabLst/>
            </a:pPr>
            <a:r>
              <a:rPr kumimoji="0" lang="ru-RU" altLang="zh-CN" sz="24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 </a:t>
            </a:r>
            <a:r>
              <a:rPr kumimoji="0" lang="ru-RU" altLang="zh-CN" sz="24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Описать логику</a:t>
            </a:r>
            <a:endParaRPr kumimoji="0" lang="ru-RU" altLang="zh-CN" sz="2400" b="0" i="0" u="none" strike="noStrike" cap="none" normalizeH="0" baseline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cs typeface="Arial" pitchFamily="34" charset="0"/>
            </a:endParaRPr>
          </a:p>
        </p:txBody>
      </p:sp>
      <p:pic>
        <p:nvPicPr>
          <p:cNvPr id="9" name="Picture 2" descr="help, mark, question icon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187881" y="2348880"/>
            <a:ext cx="2303999" cy="2304000"/>
          </a:xfrm>
          <a:prstGeom prst="rect">
            <a:avLst/>
          </a:prstGeom>
          <a:noFill/>
        </p:spPr>
      </p:pic>
      <p:pic>
        <p:nvPicPr>
          <p:cNvPr id="20484" name="Picture 4" descr="app, exit, to icon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>
            <a:grayscl/>
          </a:blip>
          <a:srcRect/>
          <a:stretch>
            <a:fillRect/>
          </a:stretch>
        </p:blipFill>
        <p:spPr bwMode="auto">
          <a:xfrm>
            <a:off x="683825" y="3050880"/>
            <a:ext cx="900000" cy="90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>
            <p:custDataLst>
              <p:tags r:id="rId1"/>
            </p:custDataLst>
          </p:nvPr>
        </p:nvSpPr>
        <p:spPr>
          <a:xfrm>
            <a:off x="251520" y="188640"/>
            <a:ext cx="633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ДЕМО: </a:t>
            </a:r>
            <a:r>
              <a:rPr lang="en-US" sz="2400" b="1" dirty="0" smtClean="0"/>
              <a:t>Agent</a:t>
            </a:r>
            <a:r>
              <a:rPr lang="ru-RU" sz="2400" b="1" dirty="0" smtClean="0"/>
              <a:t> 007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3535" y="2676773"/>
            <a:ext cx="2616337" cy="15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1506" name="Rectangle 2"/>
          <p:cNvSpPr>
            <a:spLocks noChangeArrowheads="1"/>
          </p:cNvSpPr>
          <p:nvPr/>
        </p:nvSpPr>
        <p:spPr bwMode="auto">
          <a:xfrm>
            <a:off x="4091993" y="1557947"/>
            <a:ext cx="4356000" cy="378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zh-CN" sz="20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Шаги: </a:t>
            </a:r>
            <a:endParaRPr kumimoji="0" lang="en-US" altLang="zh-CN" sz="2000" b="0" i="0" u="none" strike="noStrike" cap="none" normalizeH="0" baseline="0" dirty="0" smtClean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ea typeface="SimSun" pitchFamily="2" charset="-122"/>
              <a:cs typeface="Times New Roman" pitchFamily="18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2000" b="0" i="0" u="none" strike="noStrike" cap="none" normalizeH="0" baseline="0" dirty="0" smtClean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ea typeface="SimSun" pitchFamily="2" charset="-122"/>
              <a:cs typeface="Times New Roman" pitchFamily="18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ru-RU" altLang="zh-CN" sz="20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Добавляем бота в </a:t>
            </a:r>
            <a:r>
              <a:rPr kumimoji="0" lang="ru-RU" altLang="zh-CN" sz="2000" b="0" i="0" u="none" strike="noStrike" cap="none" normalizeH="0" baseline="0" dirty="0" err="1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Телеграм</a:t>
            </a:r>
            <a:r>
              <a:rPr kumimoji="0" lang="ru-RU" altLang="zh-CN" sz="20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 по ссылке </a:t>
            </a:r>
            <a:r>
              <a:rPr kumimoji="0" lang="en-US" altLang="zh-CN" sz="20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ea typeface="SimSun" pitchFamily="2" charset="-122"/>
                <a:cs typeface="Times New Roman" pitchFamily="18" charset="0"/>
                <a:hlinkClick r:id="rId4"/>
              </a:rPr>
              <a:t>http</a:t>
            </a:r>
            <a:r>
              <a:rPr kumimoji="0" lang="ru-RU" altLang="zh-CN" sz="20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ea typeface="SimSun" pitchFamily="2" charset="-122"/>
                <a:cs typeface="Times New Roman" pitchFamily="18" charset="0"/>
                <a:hlinkClick r:id="rId4"/>
              </a:rPr>
              <a:t>://</a:t>
            </a:r>
            <a:r>
              <a:rPr kumimoji="0" lang="en-US" altLang="zh-CN" sz="20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ea typeface="SimSun" pitchFamily="2" charset="-122"/>
                <a:cs typeface="Times New Roman" pitchFamily="18" charset="0"/>
                <a:hlinkClick r:id="rId4"/>
              </a:rPr>
              <a:t>telegram</a:t>
            </a:r>
            <a:r>
              <a:rPr kumimoji="0" lang="ru-RU" altLang="zh-CN" sz="20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ea typeface="SimSun" pitchFamily="2" charset="-122"/>
                <a:cs typeface="Times New Roman" pitchFamily="18" charset="0"/>
                <a:hlinkClick r:id="rId4"/>
              </a:rPr>
              <a:t>.</a:t>
            </a:r>
            <a:r>
              <a:rPr kumimoji="0" lang="en-US" altLang="zh-CN" sz="20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ea typeface="SimSun" pitchFamily="2" charset="-122"/>
                <a:cs typeface="Times New Roman" pitchFamily="18" charset="0"/>
                <a:hlinkClick r:id="rId4"/>
              </a:rPr>
              <a:t>me</a:t>
            </a:r>
            <a:r>
              <a:rPr kumimoji="0" lang="ru-RU" altLang="zh-CN" sz="20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ea typeface="SimSun" pitchFamily="2" charset="-122"/>
                <a:cs typeface="Times New Roman" pitchFamily="18" charset="0"/>
                <a:hlinkClick r:id="rId4"/>
              </a:rPr>
              <a:t>/</a:t>
            </a:r>
            <a:r>
              <a:rPr kumimoji="0" lang="en-US" altLang="zh-CN" sz="2000" b="0" i="0" u="none" strike="noStrike" cap="none" normalizeH="0" baseline="0" dirty="0" err="1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ea typeface="SimSun" pitchFamily="2" charset="-122"/>
                <a:cs typeface="Times New Roman" pitchFamily="18" charset="0"/>
                <a:hlinkClick r:id="rId4"/>
              </a:rPr>
              <a:t>zz</a:t>
            </a:r>
            <a:r>
              <a:rPr kumimoji="0" lang="ru-RU" altLang="zh-CN" sz="20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ea typeface="SimSun" pitchFamily="2" charset="-122"/>
                <a:cs typeface="Times New Roman" pitchFamily="18" charset="0"/>
                <a:hlinkClick r:id="rId4"/>
              </a:rPr>
              <a:t>7</a:t>
            </a:r>
            <a:r>
              <a:rPr kumimoji="0" lang="en-US" altLang="zh-CN" sz="2000" b="0" i="0" u="none" strike="noStrike" cap="none" normalizeH="0" baseline="0" dirty="0" err="1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ea typeface="SimSun" pitchFamily="2" charset="-122"/>
                <a:cs typeface="Times New Roman" pitchFamily="18" charset="0"/>
                <a:hlinkClick r:id="rId4"/>
              </a:rPr>
              <a:t>Bot</a:t>
            </a:r>
            <a:endParaRPr kumimoji="0" lang="en-US" altLang="zh-CN" sz="2000" b="0" i="0" u="none" strike="noStrike" cap="none" normalizeH="0" baseline="0" dirty="0" smtClean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ea typeface="SimSun" pitchFamily="2" charset="-122"/>
              <a:cs typeface="Times New Roman" pitchFamily="18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endParaRPr kumimoji="0" lang="ru-RU" altLang="zh-CN" sz="2000" b="0" i="0" u="none" strike="noStrike" cap="none" normalizeH="0" baseline="0" dirty="0" smtClean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ea typeface="SimSun" pitchFamily="2" charset="-122"/>
              <a:cs typeface="Times New Roman" pitchFamily="18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ru-RU" altLang="zh-CN" sz="20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Смотрим статистику путешествия бюджетных денег по </a:t>
            </a:r>
            <a:r>
              <a:rPr kumimoji="0" lang="ru-RU" altLang="zh-CN" sz="20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областям</a:t>
            </a:r>
            <a:endParaRPr kumimoji="0" lang="en-US" altLang="zh-CN" sz="2000" b="0" i="0" u="none" strike="noStrike" cap="none" normalizeH="0" baseline="0" dirty="0" smtClean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ea typeface="SimSun" pitchFamily="2" charset="-122"/>
              <a:cs typeface="Times New Roman" pitchFamily="18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endParaRPr kumimoji="0" lang="ru-RU" altLang="zh-CN" sz="2000" b="0" i="0" u="none" strike="noStrike" cap="none" normalizeH="0" baseline="0" dirty="0" smtClean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ea typeface="SimSun" pitchFamily="2" charset="-122"/>
              <a:cs typeface="Times New Roman" pitchFamily="18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ru-RU" altLang="zh-CN" sz="20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Находим конкретную </a:t>
            </a:r>
            <a:r>
              <a:rPr kumimoji="0" lang="ru-RU" altLang="zh-CN" sz="20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организацию </a:t>
            </a:r>
            <a:r>
              <a:rPr kumimoji="0" lang="ru-RU" altLang="zh-CN" sz="20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по имени или ЕРДПОУ, где мы видим, кому она больше всего заплатила денег и кто заплатил </a:t>
            </a:r>
            <a:r>
              <a:rPr kumimoji="0" lang="ru-RU" altLang="zh-CN" sz="20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ей</a:t>
            </a:r>
            <a:endParaRPr kumimoji="0" lang="ru-RU" altLang="zh-CN" sz="2000" b="0" i="0" u="none" strike="noStrike" cap="none" normalizeH="0" baseline="0" dirty="0" smtClean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>
            <p:custDataLst>
              <p:tags r:id="rId1"/>
            </p:custDataLst>
          </p:nvPr>
        </p:nvSpPr>
        <p:spPr>
          <a:xfrm>
            <a:off x="251520" y="188640"/>
            <a:ext cx="633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ДЕМО: </a:t>
            </a:r>
            <a:r>
              <a:rPr lang="en-US" sz="2400" b="1" dirty="0" smtClean="0"/>
              <a:t>Agent</a:t>
            </a:r>
            <a:r>
              <a:rPr lang="ru-RU" sz="2400" b="1" dirty="0" smtClean="0"/>
              <a:t> 007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47551" y="2652673"/>
            <a:ext cx="2616337" cy="15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1505" name="Rectangle 1"/>
          <p:cNvSpPr>
            <a:spLocks noChangeArrowheads="1"/>
          </p:cNvSpPr>
          <p:nvPr/>
        </p:nvSpPr>
        <p:spPr bwMode="auto">
          <a:xfrm>
            <a:off x="4644008" y="472018"/>
            <a:ext cx="4248472" cy="5909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zh-CN" b="1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Вот так выглядит </a:t>
            </a:r>
            <a:r>
              <a:rPr kumimoji="0" lang="en-US" altLang="zh-CN" b="1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Agent</a:t>
            </a:r>
            <a:r>
              <a:rPr kumimoji="0" lang="ru-RU" altLang="zh-CN" b="1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 007 в визуальном конструкторе:</a:t>
            </a:r>
          </a:p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b="0" i="0" u="none" strike="noStrike" cap="none" normalizeH="0" baseline="0" dirty="0" smtClean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cs typeface="Arial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§"/>
              <a:tabLst/>
            </a:pPr>
            <a:r>
              <a:rPr kumimoji="0" lang="ru-RU" altLang="zh-CN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 Каждый узел блок-схемы отвечает за конкретное действие (обращение к </a:t>
            </a:r>
            <a:r>
              <a:rPr kumimoji="0" lang="en-US" altLang="zh-CN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API</a:t>
            </a:r>
            <a:r>
              <a:rPr kumimoji="0" lang="ru-RU" altLang="zh-CN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 сайта или отправку сообщений </a:t>
            </a:r>
            <a:r>
              <a:rPr kumimoji="0" lang="ru-RU" altLang="zh-CN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пользователю)</a:t>
            </a:r>
            <a:endParaRPr kumimoji="0" lang="ru-RU" altLang="zh-CN" b="0" i="0" u="none" strike="noStrike" cap="none" normalizeH="0" baseline="0" dirty="0" smtClean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ea typeface="SimSun" pitchFamily="2" charset="-122"/>
              <a:cs typeface="Times New Roman" pitchFamily="18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§"/>
              <a:tabLst/>
            </a:pPr>
            <a:endParaRPr lang="ru-RU" altLang="zh-CN" dirty="0">
              <a:solidFill>
                <a:schemeClr val="tx1">
                  <a:lumMod val="65000"/>
                  <a:lumOff val="35000"/>
                </a:schemeClr>
              </a:solidFill>
              <a:cs typeface="Arial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§"/>
              <a:tabLst/>
            </a:pPr>
            <a:r>
              <a:rPr kumimoji="0" lang="ru-RU" altLang="zh-CN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 Узлы </a:t>
            </a:r>
            <a:r>
              <a:rPr kumimoji="0" lang="ru-RU" altLang="zh-CN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делятся </a:t>
            </a:r>
            <a:r>
              <a:rPr kumimoji="0" lang="ru-RU" altLang="zh-CN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на два типа - безусловный (</a:t>
            </a:r>
            <a:r>
              <a:rPr kumimoji="0" lang="ru-RU" altLang="zh-CN" b="0" i="0" u="none" strike="noStrike" cap="none" normalizeH="0" baseline="0" dirty="0" err="1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дефолтный</a:t>
            </a:r>
            <a:r>
              <a:rPr kumimoji="0" lang="ru-RU" altLang="zh-CN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) и условный (где переход осуществляется после проверки условия)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§"/>
              <a:tabLst/>
            </a:pPr>
            <a:endParaRPr kumimoji="0" lang="ru-RU" altLang="zh-CN" b="0" i="0" u="none" strike="noStrike" cap="none" normalizeH="0" baseline="0" dirty="0" smtClean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cs typeface="Arial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§"/>
              <a:tabLst/>
            </a:pPr>
            <a:r>
              <a:rPr kumimoji="0" lang="ru-RU" altLang="zh-CN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 В отличии от прочих инструментов, в этом для проверки выполнения условий перехода, мы можем анализировать как пользовательский ввод, так и ответ </a:t>
            </a:r>
            <a:r>
              <a:rPr kumimoji="0" lang="en-US" altLang="zh-CN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API</a:t>
            </a:r>
            <a:r>
              <a:rPr kumimoji="0" lang="ru-RU" altLang="zh-CN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 сервера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§"/>
              <a:tabLst/>
            </a:pPr>
            <a:endParaRPr kumimoji="0" lang="ru-RU" altLang="zh-CN" b="0" i="0" u="none" strike="noStrike" cap="none" normalizeH="0" baseline="0" dirty="0" smtClean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cs typeface="Arial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§"/>
              <a:tabLst/>
            </a:pPr>
            <a:r>
              <a:rPr kumimoji="0" lang="ru-RU" altLang="zh-CN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SimSun" pitchFamily="2" charset="-122"/>
                <a:cs typeface="Times New Roman" pitchFamily="18" charset="0"/>
              </a:rPr>
              <a:t> Это самый обычный конечный автомат - есть точка входа и множественные точки выхода(завершения работы)</a:t>
            </a:r>
            <a:endParaRPr kumimoji="0" lang="ru-RU" altLang="zh-CN" b="0" i="0" u="none" strike="noStrike" cap="none" normalizeH="0" baseline="0" dirty="0" smtClean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RHSLE8RUCcsAVV.GtL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TSdyDOUEmMqiJvSSpG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uh9c_d7UKmMgIPU8M.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nArbpUvEGAcEQpBYvp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RHSLE8RUCcsAVV.GtL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RHSLE8RUCcsAVV.GtLQ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6</TotalTime>
  <Words>345</Words>
  <Application>Microsoft Office PowerPoint</Application>
  <PresentationFormat>Экран (4:3)</PresentationFormat>
  <Paragraphs>70</Paragraphs>
  <Slides>1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2" baseType="lpstr">
      <vt:lpstr>Тема Office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dmin</dc:creator>
  <cp:lastModifiedBy>Admin</cp:lastModifiedBy>
  <cp:revision>23</cp:revision>
  <dcterms:created xsi:type="dcterms:W3CDTF">2016-04-29T12:54:05Z</dcterms:created>
  <dcterms:modified xsi:type="dcterms:W3CDTF">2016-04-29T14:32:40Z</dcterms:modified>
</cp:coreProperties>
</file>